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11.xml" ContentType="application/vnd.openxmlformats-officedocument.theme+xml"/>
  <Override PartName="/ppt/tags/tag1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12.xml" ContentType="application/vnd.openxmlformats-officedocument.theme+xml"/>
  <Override PartName="/ppt/tags/tag12.xml" ContentType="application/vnd.openxmlformats-officedocument.presentationml.tags+xml"/>
  <Override PartName="/ppt/slideLayouts/slideLayout31.xml" ContentType="application/vnd.openxmlformats-officedocument.presentationml.slideLayout+xml"/>
  <Override PartName="/ppt/theme/theme13.xml" ContentType="application/vnd.openxmlformats-officedocument.theme+xml"/>
  <Override PartName="/ppt/tags/tag13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14.xml" ContentType="application/vnd.openxmlformats-officedocument.theme+xml"/>
  <Override PartName="/ppt/tags/tag1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15.xml" ContentType="application/vnd.openxmlformats-officedocument.theme+xml"/>
  <Override PartName="/ppt/tags/tag1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6.xml" ContentType="application/vnd.openxmlformats-officedocument.theme+xml"/>
  <Override PartName="/ppt/tags/tag16.xml" ContentType="application/vnd.openxmlformats-officedocument.presentationml.tags+xml"/>
  <Override PartName="/ppt/slideLayouts/slideLayout43.xml" ContentType="application/vnd.openxmlformats-officedocument.presentationml.slideLayout+xml"/>
  <Override PartName="/ppt/theme/theme17.xml" ContentType="application/vnd.openxmlformats-officedocument.theme+xml"/>
  <Override PartName="/ppt/tags/tag17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8.xml" ContentType="application/vnd.openxmlformats-officedocument.theme+xml"/>
  <Override PartName="/ppt/tags/tag18.xml" ContentType="application/vnd.openxmlformats-officedocument.presentationml.tags+xml"/>
  <Override PartName="/ppt/slideLayouts/slideLayout56.xml" ContentType="application/vnd.openxmlformats-officedocument.presentationml.slideLayout+xml"/>
  <Override PartName="/ppt/theme/theme19.xml" ContentType="application/vnd.openxmlformats-officedocument.theme+xml"/>
  <Override PartName="/ppt/tags/tag19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0.xml" ContentType="application/vnd.openxmlformats-officedocument.theme+xml"/>
  <Override PartName="/ppt/tags/tag20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1.xml" ContentType="application/vnd.openxmlformats-officedocument.theme+xml"/>
  <Override PartName="/ppt/tags/tag21.xml" ContentType="application/vnd.openxmlformats-officedocument.presentationml.tags+xml"/>
  <Override PartName="/ppt/theme/theme2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1"/>
    <p:sldMasterId id="2147483682" r:id="rId2"/>
    <p:sldMasterId id="2147483684" r:id="rId3"/>
    <p:sldMasterId id="2147483715" r:id="rId4"/>
    <p:sldMasterId id="2147483732" r:id="rId5"/>
    <p:sldMasterId id="2147483738" r:id="rId6"/>
    <p:sldMasterId id="2147483759" r:id="rId7"/>
    <p:sldMasterId id="2147483766" r:id="rId8"/>
    <p:sldMasterId id="2147483799" r:id="rId9"/>
    <p:sldMasterId id="2147483820" r:id="rId10"/>
    <p:sldMasterId id="2147483826" r:id="rId11"/>
    <p:sldMasterId id="2147483872" r:id="rId12"/>
    <p:sldMasterId id="2147483888" r:id="rId13"/>
    <p:sldMasterId id="2147483934" r:id="rId14"/>
    <p:sldMasterId id="2147483937" r:id="rId15"/>
    <p:sldMasterId id="2147483941" r:id="rId16"/>
    <p:sldMasterId id="2147483950" r:id="rId17"/>
    <p:sldMasterId id="2147483992" r:id="rId18"/>
    <p:sldMasterId id="2147484006" r:id="rId19"/>
    <p:sldMasterId id="2147484012" r:id="rId20"/>
    <p:sldMasterId id="2147484026" r:id="rId21"/>
  </p:sldMasterIdLst>
  <p:notesMasterIdLst>
    <p:notesMasterId r:id="rId37"/>
  </p:notesMasterIdLst>
  <p:sldIdLst>
    <p:sldId id="260" r:id="rId22"/>
    <p:sldId id="258" r:id="rId23"/>
    <p:sldId id="259" r:id="rId24"/>
    <p:sldId id="261" r:id="rId25"/>
    <p:sldId id="262" r:id="rId26"/>
    <p:sldId id="264" r:id="rId27"/>
    <p:sldId id="265" r:id="rId28"/>
    <p:sldId id="263" r:id="rId29"/>
    <p:sldId id="273" r:id="rId30"/>
    <p:sldId id="272" r:id="rId31"/>
    <p:sldId id="266" r:id="rId32"/>
    <p:sldId id="267" r:id="rId33"/>
    <p:sldId id="269" r:id="rId34"/>
    <p:sldId id="271" r:id="rId35"/>
    <p:sldId id="270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I" id="{70D81B42-F421-4113-BA65-95C09A0D7FA6}">
          <p14:sldIdLst>
            <p14:sldId id="260"/>
            <p14:sldId id="258"/>
            <p14:sldId id="259"/>
            <p14:sldId id="261"/>
            <p14:sldId id="262"/>
            <p14:sldId id="264"/>
            <p14:sldId id="265"/>
            <p14:sldId id="263"/>
            <p14:sldId id="273"/>
            <p14:sldId id="272"/>
            <p14:sldId id="266"/>
            <p14:sldId id="267"/>
            <p14:sldId id="269"/>
            <p14:sldId id="271"/>
            <p14:sldId id="2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BDB"/>
    <a:srgbClr val="181A1C"/>
    <a:srgbClr val="687078"/>
    <a:srgbClr val="000000"/>
    <a:srgbClr val="F1F4F7"/>
    <a:srgbClr val="42474C"/>
    <a:srgbClr val="D2D9E1"/>
    <a:srgbClr val="B1E5FB"/>
    <a:srgbClr val="D8F2FD"/>
    <a:srgbClr val="1A1A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4" autoAdjust="0"/>
    <p:restoredTop sz="88143" autoAdjust="0"/>
  </p:normalViewPr>
  <p:slideViewPr>
    <p:cSldViewPr snapToGrid="0" snapToObjects="1">
      <p:cViewPr>
        <p:scale>
          <a:sx n="92" d="100"/>
          <a:sy n="92" d="100"/>
        </p:scale>
        <p:origin x="-342" y="-22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0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viewProps" Target="viewProps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4EC079-DE41-4354-AC49-718BD2F95B9C}" type="datetimeFigureOut">
              <a:rPr lang="en-US" smtClean="0"/>
              <a:t>2602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24A6EA-D31D-4DDC-B63A-7DD3FDB26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8905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EBC7CA-A196-B94B-BFAB-96CD0373E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1174949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4692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554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33329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1764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613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8015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7562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C79AF-B649-427F-9329-CDB4C50165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80BCAC-E389-4B4E-AC82-995228CBA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E4829C-65F2-456C-8E03-CDF833DDC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9D524-E181-4BAA-9679-4DEB101159AA}" type="datetimeFigureOut">
              <a:rPr lang="en-US" smtClean="0"/>
              <a:t>2602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3FE44D-5BC3-439D-9E44-3A15780D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237E-E04E-40C6-9BA2-DE92E81A4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7ACB1-F4C6-44F5-94FD-74AEDF0E1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7731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4218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3204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 Background Picture</a:t>
            </a:r>
            <a:br>
              <a:rPr lang="en-US" dirty="0"/>
            </a:br>
            <a:r>
              <a:rPr lang="en-US" dirty="0"/>
              <a:t>to this Block via right-click</a:t>
            </a:r>
            <a:br>
              <a:rPr lang="en-US" dirty="0"/>
            </a:br>
            <a:r>
              <a:rPr lang="en-US" dirty="0"/>
              <a:t>and selecting “Format Shape…”</a:t>
            </a:r>
          </a:p>
          <a:p>
            <a:r>
              <a:rPr lang="en-US" dirty="0"/>
              <a:t>In the same panel, adjust</a:t>
            </a:r>
            <a:br>
              <a:rPr lang="en-US" dirty="0"/>
            </a:br>
            <a:r>
              <a:rPr lang="en-US" dirty="0"/>
              <a:t>transparency so that contrast</a:t>
            </a:r>
            <a:br>
              <a:rPr lang="en-US" dirty="0"/>
            </a:br>
            <a:r>
              <a:rPr lang="en-US" dirty="0"/>
              <a:t>between text and image is satisfactory.</a:t>
            </a:r>
          </a:p>
          <a:p>
            <a:r>
              <a:rPr lang="en-US" dirty="0"/>
              <a:t>Delete this text after you are finish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08BE12-9605-A548-A8FC-F52A17CE2B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269553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194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292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C79AF-B649-427F-9329-CDB4C50165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80BCAC-E389-4B4E-AC82-995228CBA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E4829C-65F2-456C-8E03-CDF833DDC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9D524-E181-4BAA-9679-4DEB101159AA}" type="datetimeFigureOut">
              <a:rPr lang="en-US" smtClean="0"/>
              <a:t>2602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3FE44D-5BC3-439D-9E44-3A15780D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237E-E04E-40C6-9BA2-DE92E81A4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7ACB1-F4C6-44F5-94FD-74AEDF0E1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9781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9380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C79AF-B649-427F-9329-CDB4C50165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80BCAC-E389-4B4E-AC82-995228CBA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E4829C-65F2-456C-8E03-CDF833DDC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9D524-E181-4BAA-9679-4DEB101159AA}" type="datetimeFigureOut">
              <a:rPr lang="en-US" smtClean="0"/>
              <a:t>2602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3FE44D-5BC3-439D-9E44-3A15780D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237E-E04E-40C6-9BA2-DE92E81A4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7ACB1-F4C6-44F5-94FD-74AEDF0E1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36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1DEA6-A613-4E2A-8149-ACFF64D7F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745471-F7F4-4C03-AE1E-3881F30EF5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2F9A87-D21B-4641-80B1-C69E3DA06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9D524-E181-4BAA-9679-4DEB101159AA}" type="datetimeFigureOut">
              <a:rPr lang="en-US" smtClean="0"/>
              <a:t>2602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9AA389-7EB7-432E-8470-B3ED5A89D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97D139-5B64-4BBC-B4B9-53AA9F19C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7ACB1-F4C6-44F5-94FD-74AEDF0E1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358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2462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04761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1216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04120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43733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7EA88-C0F0-5748-B9E3-2FD0FEC4A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4451"/>
            <a:ext cx="10515600" cy="150018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2F487-CDFD-8349-BD14-BEE97F788A1F}"/>
              </a:ext>
            </a:extLst>
          </p:cNvPr>
          <p:cNvCxnSpPr/>
          <p:nvPr userDrawn="1"/>
        </p:nvCxnSpPr>
        <p:spPr>
          <a:xfrm>
            <a:off x="0" y="3980525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15BA0483-0EBB-4349-96D1-D13BB640B723}"/>
              </a:ext>
            </a:extLst>
          </p:cNvPr>
          <p:cNvSpPr/>
          <p:nvPr userDrawn="1"/>
        </p:nvSpPr>
        <p:spPr>
          <a:xfrm>
            <a:off x="831850" y="3979507"/>
            <a:ext cx="304800" cy="67981"/>
          </a:xfrm>
          <a:prstGeom prst="rect">
            <a:avLst/>
          </a:prstGeom>
          <a:solidFill>
            <a:srgbClr val="00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2417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6549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2029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0755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4737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16922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EBC7CA-A196-B94B-BFAB-96CD0373E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3803207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 Background Picture</a:t>
            </a:r>
            <a:br>
              <a:rPr lang="en-US" dirty="0"/>
            </a:br>
            <a:r>
              <a:rPr lang="en-US" dirty="0"/>
              <a:t>to this Block via right-click</a:t>
            </a:r>
            <a:br>
              <a:rPr lang="en-US" dirty="0"/>
            </a:br>
            <a:r>
              <a:rPr lang="en-US" dirty="0"/>
              <a:t>and selecting “Format Shape…”</a:t>
            </a:r>
          </a:p>
          <a:p>
            <a:r>
              <a:rPr lang="en-US" dirty="0"/>
              <a:t>In the same panel, adjust</a:t>
            </a:r>
            <a:br>
              <a:rPr lang="en-US" dirty="0"/>
            </a:br>
            <a:r>
              <a:rPr lang="en-US" dirty="0"/>
              <a:t>transparency so that contrast</a:t>
            </a:r>
            <a:br>
              <a:rPr lang="en-US" dirty="0"/>
            </a:br>
            <a:r>
              <a:rPr lang="en-US" dirty="0"/>
              <a:t>between text and image is satisfactory.</a:t>
            </a:r>
          </a:p>
          <a:p>
            <a:r>
              <a:rPr lang="en-US" dirty="0"/>
              <a:t>Delete this text after you are finish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08BE12-9605-A548-A8FC-F52A17CE2B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2894367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43733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7EA88-C0F0-5748-B9E3-2FD0FEC4A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4451"/>
            <a:ext cx="10515600" cy="150018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2F487-CDFD-8349-BD14-BEE97F788A1F}"/>
              </a:ext>
            </a:extLst>
          </p:cNvPr>
          <p:cNvCxnSpPr/>
          <p:nvPr userDrawn="1"/>
        </p:nvCxnSpPr>
        <p:spPr>
          <a:xfrm>
            <a:off x="0" y="3980525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15BA0483-0EBB-4349-96D1-D13BB640B723}"/>
              </a:ext>
            </a:extLst>
          </p:cNvPr>
          <p:cNvSpPr/>
          <p:nvPr userDrawn="1"/>
        </p:nvSpPr>
        <p:spPr>
          <a:xfrm>
            <a:off x="831850" y="3979507"/>
            <a:ext cx="304800" cy="67981"/>
          </a:xfrm>
          <a:prstGeom prst="rect">
            <a:avLst/>
          </a:prstGeom>
          <a:solidFill>
            <a:srgbClr val="00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4957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3318"/>
            <a:ext cx="10515600" cy="659434"/>
          </a:xfrm>
          <a:prstGeom prst="rect">
            <a:avLst/>
          </a:prstGeom>
        </p:spPr>
        <p:txBody>
          <a:bodyPr t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6CBD6-CB37-E04D-9A47-D2D523865A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861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9E9E9E"/>
              </a:buClr>
              <a:buFont typeface="System Font Regular"/>
              <a:buChar char="–"/>
              <a:defRPr/>
            </a:lvl1pPr>
            <a:lvl2pPr marL="685800" indent="-228600">
              <a:buClr>
                <a:srgbClr val="9E9E9E"/>
              </a:buClr>
              <a:buFont typeface="System Font Regular"/>
              <a:buChar char="–"/>
              <a:defRPr/>
            </a:lvl2pPr>
            <a:lvl3pPr marL="1143000" indent="-228600">
              <a:buClr>
                <a:srgbClr val="9E9E9E"/>
              </a:buClr>
              <a:buFont typeface="System Font Regular"/>
              <a:buChar char="–"/>
              <a:defRPr/>
            </a:lvl3pPr>
            <a:lvl4pPr marL="1600200" indent="-228600">
              <a:buClr>
                <a:srgbClr val="9E9E9E"/>
              </a:buClr>
              <a:buFont typeface="System Font Regular"/>
              <a:buChar char="–"/>
              <a:defRPr/>
            </a:lvl4pPr>
            <a:lvl5pPr marL="2057400" indent="-228600">
              <a:buClr>
                <a:srgbClr val="9E9E9E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E1D5B05-97AA-C54F-BC3F-61DB4A9992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8BB83-4FD8-5242-8148-9E75CA62F6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6092"/>
            <a:ext cx="5407025" cy="4175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 i="0">
                <a:solidFill>
                  <a:srgbClr val="181A1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Presentation – Edit using Master Slides</a:t>
            </a:r>
          </a:p>
        </p:txBody>
      </p:sp>
    </p:spTree>
    <p:extLst>
      <p:ext uri="{BB962C8B-B14F-4D97-AF65-F5344CB8AC3E}">
        <p14:creationId xmlns:p14="http://schemas.microsoft.com/office/powerpoint/2010/main" val="42014713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9170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3318"/>
            <a:ext cx="10515600" cy="659434"/>
          </a:xfrm>
          <a:prstGeom prst="rect">
            <a:avLst/>
          </a:prstGeom>
        </p:spPr>
        <p:txBody>
          <a:bodyPr t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6CBD6-CB37-E04D-9A47-D2D523865A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861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9E9E9E"/>
              </a:buClr>
              <a:buFont typeface="System Font Regular"/>
              <a:buChar char="–"/>
              <a:defRPr/>
            </a:lvl1pPr>
            <a:lvl2pPr marL="685800" indent="-228600">
              <a:buClr>
                <a:srgbClr val="9E9E9E"/>
              </a:buClr>
              <a:buFont typeface="System Font Regular"/>
              <a:buChar char="–"/>
              <a:defRPr/>
            </a:lvl2pPr>
            <a:lvl3pPr marL="1143000" indent="-228600">
              <a:buClr>
                <a:srgbClr val="9E9E9E"/>
              </a:buClr>
              <a:buFont typeface="System Font Regular"/>
              <a:buChar char="–"/>
              <a:defRPr/>
            </a:lvl3pPr>
            <a:lvl4pPr marL="1600200" indent="-228600">
              <a:buClr>
                <a:srgbClr val="9E9E9E"/>
              </a:buClr>
              <a:buFont typeface="System Font Regular"/>
              <a:buChar char="–"/>
              <a:defRPr/>
            </a:lvl4pPr>
            <a:lvl5pPr marL="2057400" indent="-228600">
              <a:buClr>
                <a:srgbClr val="9E9E9E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E1D5B05-97AA-C54F-BC3F-61DB4A9992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8BB83-4FD8-5242-8148-9E75CA62F6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6092"/>
            <a:ext cx="5407025" cy="4175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 i="0">
                <a:solidFill>
                  <a:srgbClr val="181A1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Presentation – Edit using Master Slides</a:t>
            </a:r>
          </a:p>
        </p:txBody>
      </p:sp>
    </p:spTree>
    <p:extLst>
      <p:ext uri="{BB962C8B-B14F-4D97-AF65-F5344CB8AC3E}">
        <p14:creationId xmlns:p14="http://schemas.microsoft.com/office/powerpoint/2010/main" val="27200816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r Pictures"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2139A93-2842-264E-917C-05D95B1FCF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34F29B7-3A76-6549-B152-7AC21B2E81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75188" y="1044585"/>
            <a:ext cx="6334125" cy="44910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6092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50336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rgbClr val="009BD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osing statement</a:t>
            </a:r>
          </a:p>
        </p:txBody>
      </p:sp>
    </p:spTree>
    <p:extLst>
      <p:ext uri="{BB962C8B-B14F-4D97-AF65-F5344CB8AC3E}">
        <p14:creationId xmlns:p14="http://schemas.microsoft.com/office/powerpoint/2010/main" val="11048483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0565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0" i="0">
                <a:solidFill>
                  <a:srgbClr val="F1F4F7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0" i="0">
                <a:solidFill>
                  <a:srgbClr val="F1F4F7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EBC7CA-A196-B94B-BFAB-96CD0373E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425953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 Background Picture</a:t>
            </a:r>
            <a:br>
              <a:rPr lang="en-US" dirty="0"/>
            </a:br>
            <a:r>
              <a:rPr lang="en-US" dirty="0"/>
              <a:t>to this Block via right-click</a:t>
            </a:r>
            <a:br>
              <a:rPr lang="en-US" dirty="0"/>
            </a:br>
            <a:r>
              <a:rPr lang="en-US" dirty="0"/>
              <a:t>and selecting “Format Shape…”</a:t>
            </a:r>
          </a:p>
          <a:p>
            <a:r>
              <a:rPr lang="en-US" dirty="0"/>
              <a:t>In the same panel, adjust</a:t>
            </a:r>
            <a:br>
              <a:rPr lang="en-US" dirty="0"/>
            </a:br>
            <a:r>
              <a:rPr lang="en-US" dirty="0"/>
              <a:t>transparency so that contrast</a:t>
            </a:r>
            <a:br>
              <a:rPr lang="en-US" dirty="0"/>
            </a:br>
            <a:r>
              <a:rPr lang="en-US" dirty="0"/>
              <a:t>between text and image is satisfactory.</a:t>
            </a:r>
          </a:p>
          <a:p>
            <a:r>
              <a:rPr lang="en-US" dirty="0"/>
              <a:t>Delete this text after you are finish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0" i="0">
                <a:solidFill>
                  <a:srgbClr val="F1F4F7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0" i="0">
                <a:solidFill>
                  <a:srgbClr val="F1F4F7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08BE12-9605-A548-A8FC-F52A17CE2B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1197848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43733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7EA88-C0F0-5748-B9E3-2FD0FEC4A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4451"/>
            <a:ext cx="10515600" cy="150018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NeueHaasGroteskDisp Pro" panose="020B0504020202020204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2F487-CDFD-8349-BD14-BEE97F788A1F}"/>
              </a:ext>
            </a:extLst>
          </p:cNvPr>
          <p:cNvCxnSpPr/>
          <p:nvPr userDrawn="1"/>
        </p:nvCxnSpPr>
        <p:spPr>
          <a:xfrm>
            <a:off x="0" y="3980525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15BA0483-0EBB-4349-96D1-D13BB640B723}"/>
              </a:ext>
            </a:extLst>
          </p:cNvPr>
          <p:cNvSpPr/>
          <p:nvPr userDrawn="1"/>
        </p:nvSpPr>
        <p:spPr>
          <a:xfrm>
            <a:off x="831850" y="3979507"/>
            <a:ext cx="304800" cy="67981"/>
          </a:xfrm>
          <a:prstGeom prst="rect">
            <a:avLst/>
          </a:prstGeom>
          <a:solidFill>
            <a:srgbClr val="00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053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3318"/>
            <a:ext cx="10515600" cy="659434"/>
          </a:xfrm>
          <a:prstGeom prst="rect">
            <a:avLst/>
          </a:prstGeom>
        </p:spPr>
        <p:txBody>
          <a:bodyPr t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6CBD6-CB37-E04D-9A47-D2D523865A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861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9E9E9E"/>
              </a:buClr>
              <a:buFont typeface="System Font Regular"/>
              <a:buChar char="–"/>
              <a:defRPr/>
            </a:lvl1pPr>
            <a:lvl2pPr marL="685800" indent="-228600">
              <a:buClr>
                <a:srgbClr val="9E9E9E"/>
              </a:buClr>
              <a:buFont typeface="System Font Regular"/>
              <a:buChar char="–"/>
              <a:defRPr/>
            </a:lvl2pPr>
            <a:lvl3pPr marL="1143000" indent="-228600">
              <a:buClr>
                <a:srgbClr val="9E9E9E"/>
              </a:buClr>
              <a:buFont typeface="System Font Regular"/>
              <a:buChar char="–"/>
              <a:defRPr/>
            </a:lvl3pPr>
            <a:lvl4pPr marL="1600200" indent="-228600">
              <a:buClr>
                <a:srgbClr val="9E9E9E"/>
              </a:buClr>
              <a:buFont typeface="System Font Regular"/>
              <a:buChar char="–"/>
              <a:defRPr/>
            </a:lvl4pPr>
            <a:lvl5pPr marL="2057400" indent="-228600">
              <a:buClr>
                <a:srgbClr val="9E9E9E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8BB83-4FD8-5242-8148-9E75CA62F6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6092"/>
            <a:ext cx="5407025" cy="4175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 i="0">
                <a:solidFill>
                  <a:srgbClr val="181A1C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Tracking the Transition</a:t>
            </a:r>
          </a:p>
        </p:txBody>
      </p:sp>
    </p:spTree>
    <p:extLst>
      <p:ext uri="{BB962C8B-B14F-4D97-AF65-F5344CB8AC3E}">
        <p14:creationId xmlns:p14="http://schemas.microsoft.com/office/powerpoint/2010/main" val="225056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2815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r Pictures"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34F29B7-3A76-6549-B152-7AC21B2E81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75188" y="1044585"/>
            <a:ext cx="6334125" cy="44910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76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7271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30960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0" i="0">
                <a:solidFill>
                  <a:srgbClr val="009BDB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Closing statement</a:t>
            </a:r>
          </a:p>
        </p:txBody>
      </p:sp>
    </p:spTree>
    <p:extLst>
      <p:ext uri="{BB962C8B-B14F-4D97-AF65-F5344CB8AC3E}">
        <p14:creationId xmlns:p14="http://schemas.microsoft.com/office/powerpoint/2010/main" val="37175302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3318"/>
            <a:ext cx="10515600" cy="659434"/>
          </a:xfrm>
          <a:prstGeom prst="rect">
            <a:avLst/>
          </a:prstGeom>
        </p:spPr>
        <p:txBody>
          <a:bodyPr t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6CBD6-CB37-E04D-9A47-D2D523865A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861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9E9E9E"/>
              </a:buClr>
              <a:buFont typeface="System Font Regular"/>
              <a:buChar char="–"/>
              <a:defRPr/>
            </a:lvl1pPr>
            <a:lvl2pPr marL="685800" indent="-228600">
              <a:buClr>
                <a:srgbClr val="9E9E9E"/>
              </a:buClr>
              <a:buFont typeface="System Font Regular"/>
              <a:buChar char="–"/>
              <a:defRPr/>
            </a:lvl2pPr>
            <a:lvl3pPr marL="1143000" indent="-228600">
              <a:buClr>
                <a:srgbClr val="9E9E9E"/>
              </a:buClr>
              <a:buFont typeface="System Font Regular"/>
              <a:buChar char="–"/>
              <a:defRPr/>
            </a:lvl3pPr>
            <a:lvl4pPr marL="1600200" indent="-228600">
              <a:buClr>
                <a:srgbClr val="9E9E9E"/>
              </a:buClr>
              <a:buFont typeface="System Font Regular"/>
              <a:buChar char="–"/>
              <a:defRPr/>
            </a:lvl4pPr>
            <a:lvl5pPr marL="2057400" indent="-228600">
              <a:buClr>
                <a:srgbClr val="9E9E9E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8BB83-4FD8-5242-8148-9E75CA62F6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6092"/>
            <a:ext cx="5407025" cy="4175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 i="0">
                <a:solidFill>
                  <a:srgbClr val="181A1C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Tracking the Transition</a:t>
            </a:r>
          </a:p>
        </p:txBody>
      </p:sp>
    </p:spTree>
    <p:extLst>
      <p:ext uri="{BB962C8B-B14F-4D97-AF65-F5344CB8AC3E}">
        <p14:creationId xmlns:p14="http://schemas.microsoft.com/office/powerpoint/2010/main" val="28767308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4B3FCA-ACBD-0845-B452-015EC8081A8C}" type="datetimeFigureOut">
              <a:rPr lang="en-US" smtClean="0"/>
              <a:t>2602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7A480B-EDEA-5443-9CD9-5ACD3A13DC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671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094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1_Blank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90"/>
          <p:cNvSpPr txBox="1">
            <a:spLocks noGrp="1"/>
          </p:cNvSpPr>
          <p:nvPr>
            <p:ph type="dt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Google Shape;29;p90"/>
          <p:cNvSpPr txBox="1">
            <a:spLocks noGrp="1"/>
          </p:cNvSpPr>
          <p:nvPr>
            <p:ph type="ftr" idx="11"/>
          </p:nvPr>
        </p:nvSpPr>
        <p:spPr>
          <a:xfrm>
            <a:off x="4165601" y="6245225"/>
            <a:ext cx="38608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Google Shape;30;p90"/>
          <p:cNvSpPr txBox="1">
            <a:spLocks noGrp="1"/>
          </p:cNvSpPr>
          <p:nvPr>
            <p:ph type="sldNum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75919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2422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7289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3712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C79AF-B649-427F-9329-CDB4C50165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80BCAC-E389-4B4E-AC82-995228CBA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E4829C-65F2-456C-8E03-CDF833DDC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9D524-E181-4BAA-9679-4DEB101159AA}" type="datetimeFigureOut">
              <a:rPr lang="en-US" smtClean="0"/>
              <a:t>2602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3FE44D-5BC3-439D-9E44-3A15780D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237E-E04E-40C6-9BA2-DE92E81A4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7ACB1-F4C6-44F5-94FD-74AEDF0E1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349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r Pictures"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2139A93-2842-264E-917C-05D95B1FCF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34F29B7-3A76-6549-B152-7AC21B2E81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75188" y="1044585"/>
            <a:ext cx="6334125" cy="44910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0438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95788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49C7B6-7257-4328-95D1-A0C984A55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B9D524-E181-4BAA-9679-4DEB101159AA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02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412965-0AD3-4A56-B22C-72FFD57FA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A0F6C6-8C43-4486-B72D-AD6729184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07ACB1-F4C6-44F5-94FD-74AEDF0E1AA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4118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09642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rgbClr val="009BD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osing statement</a:t>
            </a:r>
          </a:p>
        </p:txBody>
      </p:sp>
    </p:spTree>
    <p:extLst>
      <p:ext uri="{BB962C8B-B14F-4D97-AF65-F5344CB8AC3E}">
        <p14:creationId xmlns:p14="http://schemas.microsoft.com/office/powerpoint/2010/main" val="3194318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15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094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0.x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oleObject" Target="../embeddings/oleObject12.bin"/><Relationship Id="rId5" Type="http://schemas.openxmlformats.org/officeDocument/2006/relationships/tags" Target="../tags/tag12.x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tags" Target="../tags/tag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39.xml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oleObject" Target="../embeddings/oleObject17.bin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1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oleObject" Target="../embeddings/oleObject13.bin"/><Relationship Id="rId5" Type="http://schemas.openxmlformats.org/officeDocument/2006/relationships/tags" Target="../tags/tag20.xml"/><Relationship Id="rId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theme" Target="../theme/theme2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7.bin"/><Relationship Id="rId5" Type="http://schemas.openxmlformats.org/officeDocument/2006/relationships/tags" Target="../tags/tag7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tags" Target="../tags/tag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9.bin"/><Relationship Id="rId5" Type="http://schemas.openxmlformats.org/officeDocument/2006/relationships/tags" Target="../tags/tag9.x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2D33725-6702-7810-463F-4BD205039F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206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56" imgH="557" progId="TCLayout.ActiveDocument.1">
                  <p:embed/>
                </p:oleObj>
              </mc:Choice>
              <mc:Fallback>
                <p:oleObj name="think-cell Slide" r:id="rId11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861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7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rgbClr val="1A1A1C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9E9E9E"/>
        </a:buClr>
        <a:buFont typeface="System Font Regular"/>
        <a:buChar char="–"/>
        <a:defRPr sz="30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6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2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800" b="1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600" b="1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0993985-285F-6475-F81D-CAA16372C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44147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56" imgH="557" progId="TCLayout.ActiveDocument.1">
                  <p:embed/>
                </p:oleObj>
              </mc:Choice>
              <mc:Fallback>
                <p:oleObj name="think-cell Slide" r:id="rId6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1777383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3" r:id="rId2"/>
    <p:sldLayoutId id="2147483825" r:id="rId3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31F0BB-F23B-0571-01EF-0798E71432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27662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6317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2A7B47-9648-20B3-70BB-E4B1DD2C6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3241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56" imgH="557" progId="TCLayout.ActiveDocument.1">
                  <p:embed/>
                </p:oleObj>
              </mc:Choice>
              <mc:Fallback>
                <p:oleObj name="think-cell Slide" r:id="rId6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90545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4D1B09B-7FA6-3720-CC93-3AD4044A6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17809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D1B09B-7FA6-3720-CC93-3AD4044A6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9038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BADBDDD-8E84-F2F9-AF2E-E3CC0C164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644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ADBDDD-8E84-F2F9-AF2E-E3CC0C164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7173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31F0BB-F23B-0571-01EF-0798E71432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27662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31F0BB-F23B-0571-01EF-0798E7143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180642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D72CA4D-F166-1FC5-DD3B-2C0A4C4C0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28935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56" imgH="557" progId="TCLayout.ActiveDocument.1">
                  <p:embed/>
                </p:oleObj>
              </mc:Choice>
              <mc:Fallback>
                <p:oleObj name="think-cell Slide" r:id="rId11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72CA4D-F166-1FC5-DD3B-2C0A4C4C0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2734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rgbClr val="1A1A1C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9E9E9E"/>
        </a:buClr>
        <a:buFont typeface="System Font Regular"/>
        <a:buChar char="–"/>
        <a:defRPr sz="30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6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2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800" b="1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600" b="1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A48F035-1ACD-912A-B462-A042C70154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767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8F035-1ACD-912A-B462-A042C7015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96073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BC63457-AA4F-18D6-350D-64FADDC82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7008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56" imgH="557" progId="TCLayout.ActiveDocument.1">
                  <p:embed/>
                </p:oleObj>
              </mc:Choice>
              <mc:Fallback>
                <p:oleObj name="think-cell Slide" r:id="rId15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C63457-AA4F-18D6-350D-64FADDC82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186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3" r:id="rId10"/>
    <p:sldLayoutId id="2147484004" r:id="rId11"/>
    <p:sldLayoutId id="2147484005" r:id="rId1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0" i="0" kern="1200">
          <a:solidFill>
            <a:srgbClr val="1A1A1C"/>
          </a:solidFill>
          <a:latin typeface="NeueHaasGroteskDisp Pro Md" panose="020B05040202020202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9E9E9E"/>
        </a:buClr>
        <a:buFont typeface="System Font Regular"/>
        <a:buChar char="–"/>
        <a:defRPr sz="3000" b="0" i="0" kern="1200">
          <a:solidFill>
            <a:srgbClr val="1A1A1C"/>
          </a:solidFill>
          <a:latin typeface="NeueHaasGroteskDisp Pro" panose="020B0504020202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600" b="0" i="0" kern="1200">
          <a:solidFill>
            <a:srgbClr val="1A1A1C"/>
          </a:solidFill>
          <a:latin typeface="NeueHaasGroteskDisp Pro" panose="020B0504020202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200" b="0" i="0" kern="1200">
          <a:solidFill>
            <a:srgbClr val="1A1A1C"/>
          </a:solidFill>
          <a:latin typeface="NeueHaasGroteskDisp Pro" panose="020B0504020202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800" b="0" i="0" kern="1200">
          <a:solidFill>
            <a:srgbClr val="1A1A1C"/>
          </a:solidFill>
          <a:latin typeface="NeueHaasGroteskDisp Pro Md" panose="020B0504020202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600" b="0" i="0" kern="1200">
          <a:solidFill>
            <a:srgbClr val="1A1A1C"/>
          </a:solidFill>
          <a:latin typeface="NeueHaasGroteskDisp Pro Md" panose="020B0504020202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4555520-B205-D503-2656-E66B94B318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75179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555520-B205-D503-2656-E66B94B318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517504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15911A-BAF3-CE17-89C2-90AEAA8235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41972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Placeholder 7">
            <a:extLst>
              <a:ext uri="{FF2B5EF4-FFF2-40B4-BE49-F238E27FC236}">
                <a16:creationId xmlns:a16="http://schemas.microsoft.com/office/drawing/2014/main" id="{900290B0-14B8-4A16-9D29-0975E33E500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80299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5pPr>
      <a:lvl6pPr marL="342900" algn="l" rtl="0" fontAlgn="base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6pPr>
      <a:lvl7pPr marL="685800" algn="l" rtl="0" fontAlgn="base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7pPr>
      <a:lvl8pPr marL="1028700" algn="l" rtl="0" fontAlgn="base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8pPr>
      <a:lvl9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9pPr>
    </p:titleStyle>
    <p:bodyStyle>
      <a:lvl1pPr marL="173038" indent="-173038" algn="l" rtl="0" eaLnBrk="0" fontAlgn="base" hangingPunct="0">
        <a:lnSpc>
          <a:spcPct val="95000"/>
        </a:lnSpc>
        <a:spcBef>
          <a:spcPts val="1350"/>
        </a:spcBef>
        <a:spcAft>
          <a:spcPct val="0"/>
        </a:spcAft>
        <a:buFont typeface="Arial" panose="020B0604020202020204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lnSpc>
          <a:spcPct val="95000"/>
        </a:lnSpc>
        <a:spcBef>
          <a:spcPts val="675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30BC0E-AA5B-2279-9711-F3676D405D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40440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56" imgH="557" progId="TCLayout.ActiveDocument.1">
                  <p:embed/>
                </p:oleObj>
              </mc:Choice>
              <mc:Fallback>
                <p:oleObj name="think-cell Slide" r:id="rId6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30BC0E-AA5B-2279-9711-F3676D405D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196623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81B906E-E1BE-10EC-6713-9B1244A382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7309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1B906E-E1BE-10EC-6713-9B1244A382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869949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30" r:id="rId2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D107693-8CE9-1F1F-971A-5A4B95B1A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07163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991754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BC83A3C-BA65-CCF9-2626-50E457650F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5347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1713885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F3ACD30-9EB7-1047-38D7-C79650688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5698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1500942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81B906E-E1BE-10EC-6713-9B1244A382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309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050802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647BC5-4B00-C61B-0F9F-78B118604C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79877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56" imgH="557" progId="TCLayout.ActiveDocument.1">
                  <p:embed/>
                </p:oleObj>
              </mc:Choice>
              <mc:Fallback>
                <p:oleObj name="think-cell Slide" r:id="rId6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614504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2" r:id="rId2"/>
    <p:sldLayoutId id="2147483763" r:id="rId3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2A0C53D-E817-0811-DDF4-D04004786D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96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636862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375CEB6-9892-28D3-E71B-9AC80E81C9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15069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56" imgH="557" progId="TCLayout.ActiveDocument.1">
                  <p:embed/>
                </p:oleObj>
              </mc:Choice>
              <mc:Fallback>
                <p:oleObj name="think-cell Slide" r:id="rId6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187519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2" r:id="rId2"/>
    <p:sldLayoutId id="2147483803" r:id="rId3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wagner.com/wsj-ai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business.columbia.edu/insights/climate/race-power-data-centers" TargetMode="External"/><Relationship Id="rId5" Type="http://schemas.openxmlformats.org/officeDocument/2006/relationships/image" Target="../media/image24.jpg"/><Relationship Id="rId4" Type="http://schemas.openxmlformats.org/officeDocument/2006/relationships/image" Target="../media/image23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video" Target="../media/media2.mp4"/><Relationship Id="rId7" Type="http://schemas.openxmlformats.org/officeDocument/2006/relationships/image" Target="../media/image6.png"/><Relationship Id="rId2" Type="http://schemas.microsoft.com/office/2007/relationships/media" Target="../media/media2.mp4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t.com/content/54e274c5-de86-4b3e-96a9-95a46b5e48a0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www.nature.com/articles/s41586-025-09922-y" TargetMode="Externa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www.nature.com/articles/s41586-025-09922-y" TargetMode="Externa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www.science.org/content/article/ai-has-supercharged-scientists-may-have-shrunk-science" TargetMode="Externa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australian.com.au/weekend-australian-magazine/how-australias-university-students-are-using-to-ai-to-cheat-their-way-to-a-degree/news-story/2bd02fe5c5dce5c74914fc01bf883df0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www.linkedin.com/posts/chrisdbbradley_as-someone-who-for-many-years-has-had-to-activity-7425651139523629056-Ulv8?utm_source=share&amp;utm_medium=member_desktop&amp;rcm=ACoAAAAz28YBQ_BaStDO9r0G8xTkGIvTF-e5hkg" TargetMode="Externa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Jamie Dimon morning reading routine">
            <a:hlinkClick r:id="" action="ppaction://media"/>
            <a:extLst>
              <a:ext uri="{FF2B5EF4-FFF2-40B4-BE49-F238E27FC236}">
                <a16:creationId xmlns:a16="http://schemas.microsoft.com/office/drawing/2014/main" id="{C5A999A3-193C-DBE0-CE44-3845EF00D99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t="20980" b="24902"/>
          <a:stretch>
            <a:fillRect/>
          </a:stretch>
        </p:blipFill>
        <p:spPr>
          <a:xfrm>
            <a:off x="2918013" y="237013"/>
            <a:ext cx="6355976" cy="6115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68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9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nthropic writers">
            <a:extLst>
              <a:ext uri="{FF2B5EF4-FFF2-40B4-BE49-F238E27FC236}">
                <a16:creationId xmlns:a16="http://schemas.microsoft.com/office/drawing/2014/main" id="{C96D5468-1F9E-0C5E-E22E-A0F8F1F699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932657" cy="5327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Anthropic is hiring a writer with a salary of up to $320,000. Anthropic is  the company behind Claude, arguably the best writing AI in the world. And  they are hiring writers and">
            <a:extLst>
              <a:ext uri="{FF2B5EF4-FFF2-40B4-BE49-F238E27FC236}">
                <a16:creationId xmlns:a16="http://schemas.microsoft.com/office/drawing/2014/main" id="{FABF5430-66E1-FC67-E795-1DBE63F53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078" y="146303"/>
            <a:ext cx="7030194" cy="6089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6174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823554-01FB-8338-5E7C-36D36A4F0E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627" y="1034057"/>
            <a:ext cx="3524742" cy="4344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1A19-E6B7-DCB9-D37D-89861CEF74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2034" y="1034057"/>
            <a:ext cx="7001852" cy="51251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3C39D15-0C74-4AFD-D32E-AB6CA31B4BD9}"/>
              </a:ext>
            </a:extLst>
          </p:cNvPr>
          <p:cNvSpPr/>
          <p:nvPr/>
        </p:nvSpPr>
        <p:spPr>
          <a:xfrm>
            <a:off x="393467" y="6357110"/>
            <a:ext cx="3121496" cy="369332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rseWorks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’ </a:t>
            </a:r>
            <a:r>
              <a:rPr kumimoji="0" lang="en-US" sz="1800" b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urnitIn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hec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544606-61C8-E1D3-A208-1235F728CF25}"/>
              </a:ext>
            </a:extLst>
          </p:cNvPr>
          <p:cNvSpPr/>
          <p:nvPr/>
        </p:nvSpPr>
        <p:spPr>
          <a:xfrm>
            <a:off x="4942034" y="6357110"/>
            <a:ext cx="4095993" cy="369332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e submission analyzed by Claude</a:t>
            </a:r>
          </a:p>
        </p:txBody>
      </p:sp>
    </p:spTree>
    <p:extLst>
      <p:ext uri="{BB962C8B-B14F-4D97-AF65-F5344CB8AC3E}">
        <p14:creationId xmlns:p14="http://schemas.microsoft.com/office/powerpoint/2010/main" val="24077146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583E4A-D243-D1C4-7793-1D0CD90254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F1B1CC2-ED2D-042B-8DC5-A802C2F523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2339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56" imgH="557" progId="TCLayout.ActiveDocument.1">
                  <p:embed/>
                </p:oleObj>
              </mc:Choice>
              <mc:Fallback>
                <p:oleObj name="think-cell Slide" r:id="rId3" imgW="556" imgH="5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16CD27-A861-6F43-818E-C70B6625AB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B453C63-0A90-481A-51BF-59EF3860AF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665720" cy="4461518"/>
          </a:xfrm>
        </p:spPr>
        <p:txBody>
          <a:bodyPr vert="horz">
            <a:normAutofit/>
          </a:bodyPr>
          <a:lstStyle/>
          <a:p>
            <a:r>
              <a:rPr lang="en-US" dirty="0"/>
              <a:t>The real answer must come via policy (duh!)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eanwhile, we’re in a 1-to-2(?)-year period, where policies &amp; norms have yet to catch up with technology…</a:t>
            </a:r>
          </a:p>
        </p:txBody>
      </p:sp>
    </p:spTree>
    <p:extLst>
      <p:ext uri="{BB962C8B-B14F-4D97-AF65-F5344CB8AC3E}">
        <p14:creationId xmlns:p14="http://schemas.microsoft.com/office/powerpoint/2010/main" val="18012886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901E828-8980-177D-8708-62B03199C5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5571"/>
            <a:ext cx="10728960" cy="6846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2600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11FF7E1-9663-39CA-305D-4017FC68E4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467" y="0"/>
            <a:ext cx="7684312" cy="630878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AA8227E-2D81-DD2A-D1B4-45DF3976E1D7}"/>
              </a:ext>
            </a:extLst>
          </p:cNvPr>
          <p:cNvSpPr/>
          <p:nvPr/>
        </p:nvSpPr>
        <p:spPr>
          <a:xfrm>
            <a:off x="393467" y="6357110"/>
            <a:ext cx="2916183" cy="369332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SJ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5 September 2024)</a:t>
            </a:r>
          </a:p>
        </p:txBody>
      </p:sp>
    </p:spTree>
    <p:extLst>
      <p:ext uri="{BB962C8B-B14F-4D97-AF65-F5344CB8AC3E}">
        <p14:creationId xmlns:p14="http://schemas.microsoft.com/office/powerpoint/2010/main" val="28876587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0A8FA1-9D87-EEF3-D5D0-EB21CF2694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46B5BD-B261-7065-820A-C1819957ED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277833">
            <a:off x="186662" y="396794"/>
            <a:ext cx="6400800" cy="3600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02C1702-8496-9456-5A01-F645FAD3D2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29140">
            <a:off x="5602321" y="407437"/>
            <a:ext cx="6400800" cy="3583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07C7AE-D8A8-C028-79B1-9875B41252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8911" y="3673494"/>
            <a:ext cx="4573592" cy="25603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C405726-F57E-12E6-8B56-6FEAA46FCE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6373" y="4031307"/>
            <a:ext cx="4552249" cy="256032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1A694FA-A4A9-4F4A-6363-067E168FDA8D}"/>
              </a:ext>
            </a:extLst>
          </p:cNvPr>
          <p:cNvSpPr/>
          <p:nvPr/>
        </p:nvSpPr>
        <p:spPr>
          <a:xfrm>
            <a:off x="393467" y="6357110"/>
            <a:ext cx="4301177" cy="369332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wering Data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 (CKI, 23 January 2026)</a:t>
            </a:r>
          </a:p>
        </p:txBody>
      </p:sp>
    </p:spTree>
    <p:extLst>
      <p:ext uri="{BB962C8B-B14F-4D97-AF65-F5344CB8AC3E}">
        <p14:creationId xmlns:p14="http://schemas.microsoft.com/office/powerpoint/2010/main" val="4199750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6C6482-0B4D-3DCA-BAEC-8062575B77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78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Warren Buffett read 5-6 hrs every day">
            <a:hlinkClick r:id="" action="ppaction://media"/>
            <a:extLst>
              <a:ext uri="{FF2B5EF4-FFF2-40B4-BE49-F238E27FC236}">
                <a16:creationId xmlns:a16="http://schemas.microsoft.com/office/drawing/2014/main" id="{5707B556-65E3-1F7C-89A4-47C0353EEE0C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882588" y="1058956"/>
            <a:ext cx="8426824" cy="4740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868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89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ndrew Tate on reading books short">
            <a:hlinkClick r:id="" action="ppaction://media"/>
            <a:extLst>
              <a:ext uri="{FF2B5EF4-FFF2-40B4-BE49-F238E27FC236}">
                <a16:creationId xmlns:a16="http://schemas.microsoft.com/office/drawing/2014/main" id="{18D7CBC3-A188-C53B-2CE8-F942FF30AFB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080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2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791A915-67A3-A533-4DF5-6F1C5E86147D}"/>
              </a:ext>
            </a:extLst>
          </p:cNvPr>
          <p:cNvGrpSpPr/>
          <p:nvPr/>
        </p:nvGrpSpPr>
        <p:grpSpPr>
          <a:xfrm>
            <a:off x="144565" y="0"/>
            <a:ext cx="11902869" cy="6858000"/>
            <a:chOff x="144565" y="0"/>
            <a:chExt cx="11902869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9790264-4431-0DFC-7C08-D16B3AAED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4565" y="0"/>
              <a:ext cx="11902869" cy="68580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DE82EFE-34C8-A6F5-AEA6-61F58D7AD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479740" y="0"/>
              <a:ext cx="1567693" cy="3503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47054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BA58A83-E90E-44B0-CDFC-7544A1C4DD8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980" b="3980"/>
          <a:stretch>
            <a:fillRect/>
          </a:stretch>
        </p:blipFill>
        <p:spPr>
          <a:xfrm>
            <a:off x="0" y="0"/>
            <a:ext cx="12192000" cy="631209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A6057E0-8FE2-19C3-A771-672529F3713D}"/>
              </a:ext>
            </a:extLst>
          </p:cNvPr>
          <p:cNvSpPr/>
          <p:nvPr/>
        </p:nvSpPr>
        <p:spPr>
          <a:xfrm>
            <a:off x="393467" y="6357110"/>
            <a:ext cx="23775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T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 February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9100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29C38-C94A-426D-DB65-2CF85DEE66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B1332A-8817-EEEB-6790-0FEDDF3B67D9}"/>
              </a:ext>
            </a:extLst>
          </p:cNvPr>
          <p:cNvSpPr/>
          <p:nvPr/>
        </p:nvSpPr>
        <p:spPr>
          <a:xfrm>
            <a:off x="393467" y="6357110"/>
            <a:ext cx="28135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ture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4 January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27373C-50FA-8528-BEFC-34D328760C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213" y="0"/>
            <a:ext cx="6812551" cy="6323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7432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DB93A4-8081-60F6-931C-B7436C3A7D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44D4EDD-CF79-2BBE-4422-B8BB569F8A64}"/>
              </a:ext>
            </a:extLst>
          </p:cNvPr>
          <p:cNvSpPr/>
          <p:nvPr/>
        </p:nvSpPr>
        <p:spPr>
          <a:xfrm>
            <a:off x="393467" y="6357110"/>
            <a:ext cx="28135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ture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4 January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112FC4-D55B-CBD4-A5EA-371A7527B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213" y="0"/>
            <a:ext cx="6812551" cy="632344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C2AE29-5761-9654-2B55-3AE219F619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73810">
            <a:off x="4816425" y="2791764"/>
            <a:ext cx="7080200" cy="327203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8556550-5F5D-4C76-B87B-9B7A63035A93}"/>
              </a:ext>
            </a:extLst>
          </p:cNvPr>
          <p:cNvSpPr/>
          <p:nvPr/>
        </p:nvSpPr>
        <p:spPr>
          <a:xfrm>
            <a:off x="8609419" y="6357110"/>
            <a:ext cx="29418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ience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4 January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5334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8BD100-32A8-269E-34D9-C80E4E2B7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18C49A30-F708-28D3-B918-5036351689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56" y="0"/>
            <a:ext cx="5020940" cy="6357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8B80E49-1CB5-1373-4262-05BBC77B9A5D}"/>
              </a:ext>
            </a:extLst>
          </p:cNvPr>
          <p:cNvSpPr/>
          <p:nvPr/>
        </p:nvSpPr>
        <p:spPr>
          <a:xfrm>
            <a:off x="393467" y="6357110"/>
            <a:ext cx="5228804" cy="369332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AU" sz="1800" b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botomised by AI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, The Australian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6 Feb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1565D0-3760-9416-ED49-0DD449C603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4890" y="809259"/>
            <a:ext cx="6677109" cy="49228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E54C521-342B-71A6-54F6-78AC3F1B0E9C}"/>
              </a:ext>
            </a:extLst>
          </p:cNvPr>
          <p:cNvSpPr/>
          <p:nvPr/>
        </p:nvSpPr>
        <p:spPr>
          <a:xfrm>
            <a:off x="8609419" y="6357110"/>
            <a:ext cx="24416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6 Feb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1900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7DB551-056E-8B08-52DD-C5888986BB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nthropic writers">
            <a:extLst>
              <a:ext uri="{FF2B5EF4-FFF2-40B4-BE49-F238E27FC236}">
                <a16:creationId xmlns:a16="http://schemas.microsoft.com/office/drawing/2014/main" id="{C9E1659A-F26B-7F51-A44A-CC30A974B3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932657" cy="5327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5947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S_Blue Them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1-2020-cbs-powerpoint_arial" id="{ED79E7A4-751D-5646-BA0E-B928C2D4467C}" vid="{FE43E737-6786-7D43-B24E-2750F3D3738F}"/>
    </a:ext>
  </a:extLst>
</a:theme>
</file>

<file path=ppt/theme/theme10.xml><?xml version="1.0" encoding="utf-8"?>
<a:theme xmlns:a="http://schemas.openxmlformats.org/drawingml/2006/main" name="8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9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0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1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3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2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2_CBS_Blue Them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1-2020-cbs-powerpoint_arial" id="{ED79E7A4-751D-5646-BA0E-B928C2D4467C}" vid="{FE43E737-6786-7D43-B24E-2750F3D3738F}"/>
    </a:ext>
  </a:extLst>
</a:theme>
</file>

<file path=ppt/theme/theme17.xml><?xml version="1.0" encoding="utf-8"?>
<a:theme xmlns:a="http://schemas.openxmlformats.org/drawingml/2006/main" name="14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3_CBS_Blue Them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1-2020-cbs-powerpoint_nhg" id="{8050EF48-32DC-5C40-84A2-14AF134F2C43}" vid="{5184453C-D8D4-C044-A99B-A133FC4E7F49}"/>
    </a:ext>
  </a:extLst>
</a:theme>
</file>

<file path=ppt/theme/theme19.xml><?xml version="1.0" encoding="utf-8"?>
<a:theme xmlns:a="http://schemas.openxmlformats.org/drawingml/2006/main" name="15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6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7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6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uclear CBS-220223-gw</Template>
  <TotalTime>1869</TotalTime>
  <Words>102</Words>
  <Application>Microsoft Office PowerPoint</Application>
  <PresentationFormat>Widescreen</PresentationFormat>
  <Paragraphs>11</Paragraphs>
  <Slides>15</Slides>
  <Notes>0</Notes>
  <HiddenSlides>0</HiddenSlides>
  <MMClips>3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43" baseType="lpstr">
      <vt:lpstr>Arial</vt:lpstr>
      <vt:lpstr>Calibri</vt:lpstr>
      <vt:lpstr>NeueHaasGroteskDisp Pro</vt:lpstr>
      <vt:lpstr>NeueHaasGroteskDisp Pro Md</vt:lpstr>
      <vt:lpstr>System Font Regular</vt:lpstr>
      <vt:lpstr>Times</vt:lpstr>
      <vt:lpstr>CBS_Blue Themes</vt:lpstr>
      <vt:lpstr>3_Photo slide</vt:lpstr>
      <vt:lpstr>Photo slide</vt:lpstr>
      <vt:lpstr>1_Photo slide</vt:lpstr>
      <vt:lpstr>2_Photo slide</vt:lpstr>
      <vt:lpstr>4_Photo slide</vt:lpstr>
      <vt:lpstr>5_Photo slide</vt:lpstr>
      <vt:lpstr>6_Photo slide</vt:lpstr>
      <vt:lpstr>7_Photo slide</vt:lpstr>
      <vt:lpstr>8_Photo slide</vt:lpstr>
      <vt:lpstr>9_Photo slide</vt:lpstr>
      <vt:lpstr>10_Photo slide</vt:lpstr>
      <vt:lpstr>11_Photo slide</vt:lpstr>
      <vt:lpstr>13_Photo slide</vt:lpstr>
      <vt:lpstr>12_Photo slide</vt:lpstr>
      <vt:lpstr>2_CBS_Blue Themes</vt:lpstr>
      <vt:lpstr>14_Photo slide</vt:lpstr>
      <vt:lpstr>3_CBS_Blue Themes</vt:lpstr>
      <vt:lpstr>15_Photo slide</vt:lpstr>
      <vt:lpstr>16_Photo slide</vt:lpstr>
      <vt:lpstr>17_Photo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real answer must come via policy (duh!)  Meanwhile, we’re in a 1-to-2(?)-year period, where policies &amp; norms have yet to catch up with technology…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rnot Wagner</dc:creator>
  <cp:lastModifiedBy>Gernot Wagner</cp:lastModifiedBy>
  <cp:revision>95</cp:revision>
  <dcterms:created xsi:type="dcterms:W3CDTF">2022-02-23T13:27:01Z</dcterms:created>
  <dcterms:modified xsi:type="dcterms:W3CDTF">2026-02-23T16:08:18Z</dcterms:modified>
</cp:coreProperties>
</file>